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E6DC37B-B009-48A7-A894-7C2B3EFDB683}" v="17" dt="2023-07-31T04:55:44.77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48" d="100"/>
          <a:sy n="48" d="100"/>
        </p:scale>
        <p:origin x="480" y="24"/>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rusu, Meghana" userId="b3f357fa-750b-45e7-a958-3aa428eefe9e" providerId="ADAL" clId="{3E6DC37B-B009-48A7-A894-7C2B3EFDB683}"/>
    <pc:docChg chg="custSel modSld">
      <pc:chgData name="Parusu, Meghana" userId="b3f357fa-750b-45e7-a958-3aa428eefe9e" providerId="ADAL" clId="{3E6DC37B-B009-48A7-A894-7C2B3EFDB683}" dt="2023-07-31T04:47:48.396" v="187" actId="20577"/>
      <pc:docMkLst>
        <pc:docMk/>
      </pc:docMkLst>
      <pc:sldChg chg="modSp mod">
        <pc:chgData name="Parusu, Meghana" userId="b3f357fa-750b-45e7-a958-3aa428eefe9e" providerId="ADAL" clId="{3E6DC37B-B009-48A7-A894-7C2B3EFDB683}" dt="2023-07-31T04:47:48.396" v="187" actId="20577"/>
        <pc:sldMkLst>
          <pc:docMk/>
          <pc:sldMk cId="3622275861" sldId="1989"/>
        </pc:sldMkLst>
        <pc:spChg chg="mod">
          <ac:chgData name="Parusu, Meghana" userId="b3f357fa-750b-45e7-a958-3aa428eefe9e" providerId="ADAL" clId="{3E6DC37B-B009-48A7-A894-7C2B3EFDB683}" dt="2023-07-31T04:47:48.396" v="187" actId="20577"/>
          <ac:spMkLst>
            <pc:docMk/>
            <pc:sldMk cId="3622275861" sldId="1989"/>
            <ac:spMk id="7170" creationId="{4EF0A5D5-CB77-4BCF-86BB-EC8AFA4AA0E3}"/>
          </ac:spMkLst>
        </pc:spChg>
        <pc:spChg chg="mod">
          <ac:chgData name="Parusu, Meghana" userId="b3f357fa-750b-45e7-a958-3aa428eefe9e" providerId="ADAL" clId="{3E6DC37B-B009-48A7-A894-7C2B3EFDB683}" dt="2023-07-31T04:46:10.168" v="130" actId="1076"/>
          <ac:spMkLst>
            <pc:docMk/>
            <pc:sldMk cId="3622275861" sldId="1989"/>
            <ac:spMk id="7180" creationId="{273FF0AF-5E94-435C-8A2A-7A7CA0FE36A6}"/>
          </ac:spMkLst>
        </pc:spChg>
        <pc:picChg chg="mod">
          <ac:chgData name="Parusu, Meghana" userId="b3f357fa-750b-45e7-a958-3aa428eefe9e" providerId="ADAL" clId="{3E6DC37B-B009-48A7-A894-7C2B3EFDB683}" dt="2023-07-31T04:42:54.171" v="11" actId="1076"/>
          <ac:picMkLst>
            <pc:docMk/>
            <pc:sldMk cId="3622275861" sldId="1989"/>
            <ac:picMk id="7179" creationId="{12618B16-99B6-4F89-A145-C5939A93831F}"/>
          </ac:picMkLst>
        </pc:picChg>
        <pc:picChg chg="mod">
          <ac:chgData name="Parusu, Meghana" userId="b3f357fa-750b-45e7-a958-3aa428eefe9e" providerId="ADAL" clId="{3E6DC37B-B009-48A7-A894-7C2B3EFDB683}" dt="2023-07-31T04:42:27.689" v="5" actId="14100"/>
          <ac:picMkLst>
            <pc:docMk/>
            <pc:sldMk cId="3622275861" sldId="1989"/>
            <ac:picMk id="22530" creationId="{7A986EB2-83AE-2318-9F25-711BDAAF5A09}"/>
          </ac:picMkLst>
        </pc:picChg>
      </pc:sldChg>
    </pc:docChg>
  </pc:docChgLst>
  <pc:docChgLst>
    <pc:chgData name="Parusu, Meghana" userId="b3f357fa-750b-45e7-a958-3aa428eefe9e" providerId="ADAL" clId="{38C9BAFB-523A-4C31-86ED-459B316E3016}"/>
    <pc:docChg chg="undo custSel modSld">
      <pc:chgData name="Parusu, Meghana" userId="b3f357fa-750b-45e7-a958-3aa428eefe9e" providerId="ADAL" clId="{38C9BAFB-523A-4C31-86ED-459B316E3016}" dt="2023-04-12T09:03:17.453" v="20"/>
      <pc:docMkLst>
        <pc:docMk/>
      </pc:docMkLst>
      <pc:sldChg chg="addSp modSp mod">
        <pc:chgData name="Parusu, Meghana" userId="b3f357fa-750b-45e7-a958-3aa428eefe9e" providerId="ADAL" clId="{38C9BAFB-523A-4C31-86ED-459B316E3016}" dt="2023-04-12T09:03:17.453" v="20"/>
        <pc:sldMkLst>
          <pc:docMk/>
          <pc:sldMk cId="3622275861" sldId="1989"/>
        </pc:sldMkLst>
        <pc:spChg chg="mod">
          <ac:chgData name="Parusu, Meghana" userId="b3f357fa-750b-45e7-a958-3aa428eefe9e" providerId="ADAL" clId="{38C9BAFB-523A-4C31-86ED-459B316E3016}" dt="2023-04-12T08:58:03.884" v="1"/>
          <ac:spMkLst>
            <pc:docMk/>
            <pc:sldMk cId="3622275861" sldId="1989"/>
            <ac:spMk id="7170" creationId="{4EF0A5D5-CB77-4BCF-86BB-EC8AFA4AA0E3}"/>
          </ac:spMkLst>
        </pc:spChg>
        <pc:spChg chg="mod">
          <ac:chgData name="Parusu, Meghana" userId="b3f357fa-750b-45e7-a958-3aa428eefe9e" providerId="ADAL" clId="{38C9BAFB-523A-4C31-86ED-459B316E3016}" dt="2023-04-12T09:02:07.282" v="13" actId="1076"/>
          <ac:spMkLst>
            <pc:docMk/>
            <pc:sldMk cId="3622275861" sldId="1989"/>
            <ac:spMk id="7175" creationId="{BADEA8C0-D1A3-4608-9E63-683339DCC944}"/>
          </ac:spMkLst>
        </pc:spChg>
        <pc:spChg chg="mod">
          <ac:chgData name="Parusu, Meghana" userId="b3f357fa-750b-45e7-a958-3aa428eefe9e" providerId="ADAL" clId="{38C9BAFB-523A-4C31-86ED-459B316E3016}" dt="2023-04-12T08:59:01.050" v="6" actId="14100"/>
          <ac:spMkLst>
            <pc:docMk/>
            <pc:sldMk cId="3622275861" sldId="1989"/>
            <ac:spMk id="7180" creationId="{273FF0AF-5E94-435C-8A2A-7A7CA0FE36A6}"/>
          </ac:spMkLst>
        </pc:spChg>
        <pc:picChg chg="mod">
          <ac:chgData name="Parusu, Meghana" userId="b3f357fa-750b-45e7-a958-3aa428eefe9e" providerId="ADAL" clId="{38C9BAFB-523A-4C31-86ED-459B316E3016}" dt="2023-04-12T08:59:06.341" v="7" actId="1076"/>
          <ac:picMkLst>
            <pc:docMk/>
            <pc:sldMk cId="3622275861" sldId="1989"/>
            <ac:picMk id="7179" creationId="{12618B16-99B6-4F89-A145-C5939A93831F}"/>
          </ac:picMkLst>
        </pc:picChg>
        <pc:picChg chg="add mod">
          <ac:chgData name="Parusu, Meghana" userId="b3f357fa-750b-45e7-a958-3aa428eefe9e" providerId="ADAL" clId="{38C9BAFB-523A-4C31-86ED-459B316E3016}" dt="2023-04-12T09:03:17.453" v="20"/>
          <ac:picMkLst>
            <pc:docMk/>
            <pc:sldMk cId="3622275861" sldId="1989"/>
            <ac:picMk id="22530" creationId="{7A986EB2-83AE-2318-9F25-711BDAAF5A09}"/>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1/1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1/1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21/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hyperlink" Target="mailto:raubins.raj@capgemini.com" TargetMode="External"/><Relationship Id="rId7" Type="http://schemas.openxmlformats.org/officeDocument/2006/relationships/hyperlink" Target="https://capgemini-my.sharepoint.com/:v:/r/personal/meghana_parusu_capgemini_com/Documents/ScreenRecorderProject2%20-%20Copy.mkv?csf=1&amp;web=1&amp;e=vnbmMF"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jfif"/><Relationship Id="rId5" Type="http://schemas.openxmlformats.org/officeDocument/2006/relationships/image" Target="../media/image14.png"/><Relationship Id="rId4" Type="http://schemas.openxmlformats.org/officeDocument/2006/relationships/hyperlink" Target="https://github.com/PARUSUMEGHANA/On-Demand-Car-Wash-System.gi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5257799" y="2798573"/>
            <a:ext cx="3763681" cy="3763512"/>
          </a:xfrm>
        </p:spPr>
        <p:txBody>
          <a:bodyPr/>
          <a:lstStyle/>
          <a:p>
            <a:pPr eaLnBrk="1" hangingPunct="1">
              <a:lnSpc>
                <a:spcPct val="114000"/>
              </a:lnSpc>
            </a:pPr>
            <a:r>
              <a:rPr lang="en-US" altLang="en-US" sz="1200" b="1" dirty="0"/>
              <a:t>ON-DEMAND CAR WASH SYSTEM</a:t>
            </a:r>
          </a:p>
          <a:p>
            <a:pPr algn="just" eaLnBrk="1" hangingPunct="1">
              <a:lnSpc>
                <a:spcPct val="114000"/>
              </a:lnSpc>
            </a:pPr>
            <a:r>
              <a:rPr lang="en-IN" altLang="en-US" sz="1200" dirty="0"/>
              <a:t>Completed end to end case study of On-Demand Car System using Core Java , Spring Boot in the backend , MongoDB as database and HTML,CSS and Angular used as User Interface</a:t>
            </a:r>
            <a:r>
              <a:rPr lang="en-US" altLang="en-US" sz="1200" dirty="0"/>
              <a:t>.</a:t>
            </a:r>
            <a:endParaRPr lang="en-US" altLang="nl-NL" sz="1200" b="1" dirty="0"/>
          </a:p>
          <a:p>
            <a:pPr algn="just">
              <a:lnSpc>
                <a:spcPct val="114000"/>
              </a:lnSpc>
            </a:pPr>
            <a:r>
              <a:rPr lang="en-IN" altLang="nl-NL" sz="1200" dirty="0"/>
              <a:t>Using this web application , customers can register, login and book car wash according to their preferences . This admin can add/update the wash pack details and can see the list of all bookings . It also contains the payment gateway for completing the booking of the car wash service.</a:t>
            </a:r>
          </a:p>
          <a:p>
            <a:pPr marL="171450" indent="-171450" algn="just">
              <a:lnSpc>
                <a:spcPct val="114000"/>
              </a:lnSpc>
              <a:buFont typeface="Arial" panose="020B0604020202020204" pitchFamily="34" charset="0"/>
              <a:buChar char="•"/>
            </a:pPr>
            <a:r>
              <a:rPr lang="en-IN" altLang="nl-NL" sz="1200" dirty="0"/>
              <a:t>AWS Certified Cloud </a:t>
            </a:r>
            <a:r>
              <a:rPr lang="en-IN" altLang="nl-NL" sz="1200" dirty="0" err="1"/>
              <a:t>Practioner</a:t>
            </a:r>
            <a:r>
              <a:rPr lang="en-IN" altLang="nl-NL" sz="1200" dirty="0"/>
              <a:t> Certificate.</a:t>
            </a:r>
          </a:p>
          <a:p>
            <a:pPr marL="171450" indent="-171450" algn="just">
              <a:lnSpc>
                <a:spcPct val="114000"/>
              </a:lnSpc>
              <a:buFont typeface="Arial" panose="020B0604020202020204" pitchFamily="34" charset="0"/>
              <a:buChar char="•"/>
            </a:pPr>
            <a:r>
              <a:rPr lang="en-IN" altLang="nl-NL" sz="1200" dirty="0"/>
              <a:t>AWS Certified Developer–Associate Certificate.</a:t>
            </a:r>
          </a:p>
          <a:p>
            <a:pPr marL="171450" indent="-171450" algn="just">
              <a:lnSpc>
                <a:spcPct val="114000"/>
              </a:lnSpc>
              <a:buFont typeface="Arial" panose="020B0604020202020204" pitchFamily="34" charset="0"/>
              <a:buChar char="•"/>
            </a:pPr>
            <a:r>
              <a:rPr lang="en-IN" altLang="nl-NL" sz="1200" dirty="0"/>
              <a:t>Google Cloud Certified-Cloud </a:t>
            </a:r>
            <a:r>
              <a:rPr lang="en-IN" altLang="nl-NL" sz="1200"/>
              <a:t>Digital leader.</a:t>
            </a:r>
            <a:endParaRPr lang="en-IN" altLang="nl-NL" sz="1200" dirty="0"/>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64225" y="1581897"/>
            <a:ext cx="2750274" cy="241531"/>
          </a:xfrm>
        </p:spPr>
        <p:txBody>
          <a:bodyPr/>
          <a:lstStyle/>
          <a:p>
            <a:pPr eaLnBrk="1" hangingPunct="1"/>
            <a:r>
              <a:rPr lang="nl-NL" altLang="nl-NL" dirty="0">
                <a:hlinkClick r:id="rId3"/>
              </a:rPr>
              <a:t>meghana.parusu@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9947" y="1849438"/>
            <a:ext cx="2382837" cy="232240"/>
          </a:xfrm>
        </p:spPr>
        <p:txBody>
          <a:bodyPr/>
          <a:lstStyle/>
          <a:p>
            <a:pPr eaLnBrk="1" hangingPunct="1"/>
            <a:r>
              <a:rPr lang="nl-NL" altLang="nl-NL" dirty="0"/>
              <a:t>+91 9059435349</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698107" y="2989643"/>
            <a:ext cx="4184369" cy="1698119"/>
          </a:xfrm>
        </p:spPr>
        <p:txBody>
          <a:bodyPr/>
          <a:lstStyle/>
          <a:p>
            <a:r>
              <a:rPr lang="en-US" altLang="en-US" sz="1400" b="1" dirty="0"/>
              <a:t>Full Stack Developer</a:t>
            </a:r>
          </a:p>
          <a:p>
            <a:pPr marL="171450" indent="-171450" algn="just">
              <a:buFont typeface="Arial" panose="020B0604020202020204" pitchFamily="34" charset="0"/>
              <a:buChar char="•"/>
            </a:pPr>
            <a:r>
              <a:rPr lang="en-US" sz="1200" dirty="0"/>
              <a:t>Hands on experience in creating </a:t>
            </a:r>
            <a:r>
              <a:rPr lang="en-US" sz="1200" b="1" dirty="0"/>
              <a:t>microservices</a:t>
            </a:r>
            <a:r>
              <a:rPr lang="en-US" sz="1200" dirty="0"/>
              <a:t> with </a:t>
            </a:r>
            <a:r>
              <a:rPr lang="en-US" sz="1200" b="1" dirty="0" err="1"/>
              <a:t>Springboot,Core</a:t>
            </a:r>
            <a:r>
              <a:rPr lang="en-US" sz="1200" b="1" dirty="0"/>
              <a:t> Java,MangoDB,Junit,Pos-tman,HTML5,CSS,JavaScript,Angular,Eureka server.</a:t>
            </a:r>
            <a:endParaRPr lang="en-US" sz="1200" dirty="0"/>
          </a:p>
          <a:p>
            <a:pPr marL="171450" indent="-171450" algn="just">
              <a:buFont typeface="Arial" panose="020B0604020202020204" pitchFamily="34" charset="0"/>
              <a:buChar char="•"/>
            </a:pPr>
            <a:r>
              <a:rPr lang="en-US" sz="1200" dirty="0"/>
              <a:t>Proficient in creating </a:t>
            </a:r>
            <a:r>
              <a:rPr lang="en-US" sz="1200" b="1" dirty="0"/>
              <a:t>Single page Web</a:t>
            </a:r>
            <a:r>
              <a:rPr lang="en-US" sz="1200" dirty="0"/>
              <a:t> Application in </a:t>
            </a:r>
            <a:r>
              <a:rPr lang="en-US" sz="1200" b="1" dirty="0"/>
              <a:t>Angular</a:t>
            </a:r>
            <a:r>
              <a:rPr lang="en-US" sz="1200" dirty="0"/>
              <a:t> using</a:t>
            </a:r>
            <a:r>
              <a:rPr lang="en-US" sz="1200" b="1" dirty="0"/>
              <a:t> Angular with </a:t>
            </a:r>
            <a:r>
              <a:rPr lang="en-US" sz="1200" dirty="0"/>
              <a:t>routing.</a:t>
            </a:r>
          </a:p>
          <a:p>
            <a:pPr marL="171450" indent="-171450" algn="just">
              <a:buFont typeface="Arial" panose="020B0604020202020204" pitchFamily="34" charset="0"/>
              <a:buChar char="•"/>
            </a:pPr>
            <a:r>
              <a:rPr lang="en-US" sz="1200" dirty="0"/>
              <a:t>Ready to learn new Technologies and implement them to further improve my knowledge.</a:t>
            </a:r>
          </a:p>
          <a:p>
            <a:pPr marL="171450" indent="-171450" algn="just">
              <a:buFont typeface="Arial" panose="020B0604020202020204" pitchFamily="34" charset="0"/>
              <a:buChar char="•"/>
            </a:pPr>
            <a:r>
              <a:rPr lang="en-US" sz="1200" dirty="0"/>
              <a:t>Eager to work in a team of dedicated people and serve a key role in the enhancement and development of the project.</a:t>
            </a:r>
          </a:p>
          <a:p>
            <a:br>
              <a:rPr lang="en-US" altLang="nl-NL" sz="1200" dirty="0"/>
            </a:br>
            <a:endParaRPr lang="en-US" altLang="nl-NL" sz="1200"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PARUSU MEGHANA</a:t>
            </a:r>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8470549" y="6494452"/>
            <a:ext cx="221014"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5197397" y="6597969"/>
            <a:ext cx="338365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123163" y="1962569"/>
            <a:ext cx="2492943" cy="3469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endPar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endParaRPr>
          </a:p>
        </p:txBody>
      </p:sp>
      <p:sp>
        <p:nvSpPr>
          <p:cNvPr id="5" name="Rectangle 4">
            <a:extLst>
              <a:ext uri="{FF2B5EF4-FFF2-40B4-BE49-F238E27FC236}">
                <a16:creationId xmlns:a16="http://schemas.microsoft.com/office/drawing/2014/main" id="{4E726CED-1BAF-414A-893B-4626E9B6F2B4}"/>
              </a:ext>
            </a:extLst>
          </p:cNvPr>
          <p:cNvSpPr/>
          <p:nvPr/>
        </p:nvSpPr>
        <p:spPr>
          <a:xfrm>
            <a:off x="9304799" y="538415"/>
            <a:ext cx="2718715" cy="652358"/>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100" dirty="0">
                <a:solidFill>
                  <a:prstClr val="black"/>
                </a:solidFill>
                <a:latin typeface="Verdana" panose="020B0604030504040204" pitchFamily="34" charset="0"/>
              </a:rPr>
              <a:t>Technology in Electronics and Communication</a:t>
            </a:r>
            <a:r>
              <a:rPr kumimoji="0" lang="en-US" altLang="nl-NL"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100" dirty="0">
                <a:solidFill>
                  <a:prstClr val="black"/>
                </a:solidFill>
                <a:latin typeface="Verdana" panose="020B0604030504040204" pitchFamily="34" charset="0"/>
              </a:rPr>
              <a:t>Engineering </a:t>
            </a:r>
            <a:r>
              <a:rPr kumimoji="0" lang="en-US" altLang="nl-NL"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2018 - 2022</a:t>
            </a:r>
          </a:p>
        </p:txBody>
      </p:sp>
      <p:sp>
        <p:nvSpPr>
          <p:cNvPr id="6" name="Rectangle 5">
            <a:extLst>
              <a:ext uri="{FF2B5EF4-FFF2-40B4-BE49-F238E27FC236}">
                <a16:creationId xmlns:a16="http://schemas.microsoft.com/office/drawing/2014/main" id="{1616387D-79C4-4D2C-8F4C-617036B1459A}"/>
              </a:ext>
            </a:extLst>
          </p:cNvPr>
          <p:cNvSpPr/>
          <p:nvPr/>
        </p:nvSpPr>
        <p:spPr>
          <a:xfrm>
            <a:off x="9304799" y="1118415"/>
            <a:ext cx="721672"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4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4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Placeholder 3" descr="A picture containing person, clothing, standing, posing&#10;&#10;Description automatically generated">
            <a:extLst>
              <a:ext uri="{FF2B5EF4-FFF2-40B4-BE49-F238E27FC236}">
                <a16:creationId xmlns:a16="http://schemas.microsoft.com/office/drawing/2014/main" id="{770C5524-DFD6-49C4-9CC4-3113307C8406}"/>
              </a:ext>
            </a:extLst>
          </p:cNvPr>
          <p:cNvPicPr>
            <a:picLocks noGrp="1" noChangeAspect="1"/>
          </p:cNvPicPr>
          <p:nvPr>
            <p:ph type="pic" sz="quarter" idx="46"/>
          </p:nvPr>
        </p:nvPicPr>
        <p:blipFill>
          <a:blip r:embed="rId6">
            <a:extLst>
              <a:ext uri="{28A0092B-C50C-407E-A947-70E740481C1C}">
                <a14:useLocalDpi xmlns:a14="http://schemas.microsoft.com/office/drawing/2010/main" val="0"/>
              </a:ext>
            </a:extLst>
          </a:blip>
          <a:srcRect t="1549" b="1549"/>
          <a:stretch>
            <a:fillRect/>
          </a:stretch>
        </p:blipFill>
        <p:spPr/>
      </p:pic>
      <p:graphicFrame>
        <p:nvGraphicFramePr>
          <p:cNvPr id="10" name="Table 9">
            <a:extLst>
              <a:ext uri="{FF2B5EF4-FFF2-40B4-BE49-F238E27FC236}">
                <a16:creationId xmlns:a16="http://schemas.microsoft.com/office/drawing/2014/main" id="{426614CA-F1DD-4A5A-A82E-23B2ABA37D0C}"/>
              </a:ext>
            </a:extLst>
          </p:cNvPr>
          <p:cNvGraphicFramePr>
            <a:graphicFrameLocks noGrp="1"/>
          </p:cNvGraphicFramePr>
          <p:nvPr>
            <p:extLst>
              <p:ext uri="{D42A27DB-BD31-4B8C-83A1-F6EECF244321}">
                <p14:modId xmlns:p14="http://schemas.microsoft.com/office/powerpoint/2010/main" val="346397787"/>
              </p:ext>
            </p:extLst>
          </p:nvPr>
        </p:nvGraphicFramePr>
        <p:xfrm>
          <a:off x="9304800" y="1479699"/>
          <a:ext cx="2887200" cy="4856970"/>
        </p:xfrm>
        <a:graphic>
          <a:graphicData uri="http://schemas.openxmlformats.org/drawingml/2006/table">
            <a:tbl>
              <a:tblPr firstRow="1" bandRow="1">
                <a:tableStyleId>{0E3FDE45-AF77-4B5C-9715-49D594BDF05E}</a:tableStyleId>
              </a:tblPr>
              <a:tblGrid>
                <a:gridCol w="1363200">
                  <a:extLst>
                    <a:ext uri="{9D8B030D-6E8A-4147-A177-3AD203B41FA5}">
                      <a16:colId xmlns:a16="http://schemas.microsoft.com/office/drawing/2014/main" val="1877440433"/>
                    </a:ext>
                  </a:extLst>
                </a:gridCol>
                <a:gridCol w="1524000">
                  <a:extLst>
                    <a:ext uri="{9D8B030D-6E8A-4147-A177-3AD203B41FA5}">
                      <a16:colId xmlns:a16="http://schemas.microsoft.com/office/drawing/2014/main" val="3429190414"/>
                    </a:ext>
                  </a:extLst>
                </a:gridCol>
              </a:tblGrid>
              <a:tr h="862758">
                <a:tc>
                  <a:txBody>
                    <a:bodyPr/>
                    <a:lstStyle/>
                    <a:p>
                      <a:r>
                        <a:rPr kumimoji="0" lang="en-US" altLang="en-US" sz="1100" b="0" u="none" strike="noStrike" kern="1200" cap="none" spc="0" normalizeH="0" baseline="0" noProof="0" dirty="0">
                          <a:ln>
                            <a:noFill/>
                          </a:ln>
                          <a:effectLst/>
                          <a:uLnTx/>
                          <a:uFillTx/>
                        </a:rPr>
                        <a:t>Java </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u="none" strike="noStrike" kern="1200" cap="none" spc="0" normalizeH="0" baseline="0" noProof="0" dirty="0">
                          <a:ln>
                            <a:noFill/>
                          </a:ln>
                          <a:effectLst/>
                          <a:uLnTx/>
                          <a:uFillTx/>
                        </a:rPr>
                        <a:t>Java Basics, OOPS, Collections, Arrays, Loops, Lambda Exp, </a:t>
                      </a:r>
                    </a:p>
                    <a:p>
                      <a:r>
                        <a:rPr kumimoji="0" lang="en-US" sz="1100" b="0" u="none" strike="noStrike" kern="1200" cap="none" spc="0" normalizeH="0" baseline="0" dirty="0">
                          <a:ln>
                            <a:noFill/>
                          </a:ln>
                          <a:effectLst/>
                          <a:uLnTx/>
                          <a:uFillTx/>
                        </a:rPr>
                        <a:t>Junit.</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835567406"/>
                  </a:ext>
                </a:extLst>
              </a:tr>
              <a:tr h="5515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F</a:t>
                      </a:r>
                      <a:r>
                        <a:rPr kumimoji="0" lang="en-US" sz="1100" b="0" i="0" u="none" strike="noStrike" kern="1200" cap="none" spc="0" normalizeH="0" baseline="0" noProof="0" dirty="0" err="1">
                          <a:ln>
                            <a:noFill/>
                          </a:ln>
                          <a:solidFill>
                            <a:prstClr val="black"/>
                          </a:solidFill>
                          <a:effectLst/>
                          <a:uLnTx/>
                          <a:uFillTx/>
                          <a:latin typeface="Verdana" panose="020B0604030504040204" pitchFamily="34" charset="0"/>
                          <a:ea typeface="+mn-ea"/>
                          <a:cs typeface="+mn-cs"/>
                        </a:rPr>
                        <a:t>ramework</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IN"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S</a:t>
                      </a:r>
                      <a:r>
                        <a:rPr kumimoji="0" lang="en-US" sz="11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pring</a:t>
                      </a: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 MVC , Spring JDBC , Spring Boot.</a:t>
                      </a:r>
                    </a:p>
                  </a:txBody>
                  <a:tcPr/>
                </a:tc>
                <a:extLst>
                  <a:ext uri="{0D108BD9-81ED-4DB2-BD59-A6C34878D82A}">
                    <a16:rowId xmlns:a16="http://schemas.microsoft.com/office/drawing/2014/main" val="2682803979"/>
                  </a:ext>
                </a:extLst>
              </a:tr>
              <a:tr h="3658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100" u="none" strike="noStrike" kern="1200" cap="none" spc="0" normalizeH="0" baseline="0" noProof="0" dirty="0">
                        <a:ln>
                          <a:noFill/>
                        </a:ln>
                        <a:effectLst/>
                        <a:uLnTx/>
                        <a:uFillTx/>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p>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N" sz="11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1100" dirty="0">
                          <a:solidFill>
                            <a:schemeClr val="tx1"/>
                          </a:solidFill>
                        </a:rPr>
                        <a:t>MongoDB </a:t>
                      </a:r>
                      <a:endParaRPr lang="en-US" sz="1100" dirty="0">
                        <a:solidFill>
                          <a:schemeClr val="tx1"/>
                        </a:solidFill>
                      </a:endParaRPr>
                    </a:p>
                  </a:txBody>
                  <a:tcPr/>
                </a:tc>
                <a:extLst>
                  <a:ext uri="{0D108BD9-81ED-4DB2-BD59-A6C34878D82A}">
                    <a16:rowId xmlns:a16="http://schemas.microsoft.com/office/drawing/2014/main" val="498429014"/>
                  </a:ext>
                </a:extLst>
              </a:tr>
              <a:tr h="551599">
                <a:tc>
                  <a:txBody>
                    <a:bodyPr/>
                    <a:lstStyle/>
                    <a:p>
                      <a:r>
                        <a:rPr kumimoji="0" lang="en-IN"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a:t>
                      </a:r>
                    </a:p>
                    <a:p>
                      <a:r>
                        <a:rPr kumimoji="0" lang="en-IN"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Technology</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100" dirty="0">
                          <a:solidFill>
                            <a:schemeClr val="tx1"/>
                          </a:solidFill>
                        </a:rPr>
                        <a:t>Angular,HTML5,CSS,</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1100" dirty="0">
                          <a:solidFill>
                            <a:schemeClr val="tx1"/>
                          </a:solidFill>
                        </a:rPr>
                        <a:t>JavaScript</a:t>
                      </a:r>
                      <a:endParaRPr lang="en-US" sz="1100" dirty="0">
                        <a:solidFill>
                          <a:schemeClr val="tx1"/>
                        </a:solidFill>
                      </a:endParaRPr>
                    </a:p>
                  </a:txBody>
                  <a:tcPr/>
                </a:tc>
                <a:extLst>
                  <a:ext uri="{0D108BD9-81ED-4DB2-BD59-A6C34878D82A}">
                    <a16:rowId xmlns:a16="http://schemas.microsoft.com/office/drawing/2014/main" val="2422653186"/>
                  </a:ext>
                </a:extLst>
              </a:tr>
              <a:tr h="452610">
                <a:tc>
                  <a:txBody>
                    <a:bodyPr/>
                    <a:lstStyle/>
                    <a:p>
                      <a:endParaRPr kumimoji="0" lang="en-IN"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IN"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Testing</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IN"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IN"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JUnit</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279408936"/>
                  </a:ext>
                </a:extLst>
              </a:tr>
              <a:tr h="551599">
                <a:tc>
                  <a:txBody>
                    <a:bodyPr/>
                    <a:lstStyle/>
                    <a:p>
                      <a:endParaRPr kumimoji="0" lang="en-IN"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IN"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IN"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IN"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Postman , Eclipse, Visual Studio code</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598289072"/>
                  </a:ext>
                </a:extLst>
              </a:tr>
              <a:tr h="1018337">
                <a:tc>
                  <a:txBody>
                    <a:bodyPr/>
                    <a:lstStyle/>
                    <a:p>
                      <a:r>
                        <a:rPr kumimoji="0" lang="en-IN"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itional Skills</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lnB w="12700" cap="flat" cmpd="sng" algn="ctr">
                      <a:solidFill>
                        <a:schemeClr val="tx1"/>
                      </a:solidFill>
                      <a:prstDash val="solid"/>
                      <a:round/>
                      <a:headEnd type="none" w="med" len="med"/>
                      <a:tailEnd type="none" w="med" len="med"/>
                    </a:lnB>
                  </a:tcPr>
                </a:tc>
                <a:tc>
                  <a:txBody>
                    <a:bodyPr/>
                    <a:lstStyle/>
                    <a:p>
                      <a:pPr marL="0" lvl="1" indent="0" algn="l" defTabSz="914400" rtl="0" eaLnBrk="1" latinLnBrk="0" hangingPunct="1">
                        <a:buFont typeface="Arial" panose="020B0604020202020204" pitchFamily="34" charset="0"/>
                        <a:buNone/>
                      </a:pPr>
                      <a:r>
                        <a:rPr kumimoji="0" lang="en-IN"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Team player with good Communication skills, Self Learner , Problem solving , Adaptability.</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18741061"/>
                  </a:ext>
                </a:extLst>
              </a:tr>
            </a:tbl>
          </a:graphicData>
        </a:graphic>
      </p:graphicFrame>
      <p:sp>
        <p:nvSpPr>
          <p:cNvPr id="24" name="Text Placeholder 25">
            <a:extLst>
              <a:ext uri="{FF2B5EF4-FFF2-40B4-BE49-F238E27FC236}">
                <a16:creationId xmlns:a16="http://schemas.microsoft.com/office/drawing/2014/main" id="{374A01A1-3E44-4886-9F19-3A3A266A46D5}"/>
              </a:ext>
            </a:extLst>
          </p:cNvPr>
          <p:cNvSpPr txBox="1">
            <a:spLocks noChangeArrowheads="1"/>
          </p:cNvSpPr>
          <p:nvPr/>
        </p:nvSpPr>
        <p:spPr bwMode="white">
          <a:xfrm>
            <a:off x="2448185" y="2208349"/>
            <a:ext cx="3299943" cy="42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lang="nl-NL" altLang="nl-NL" sz="1100" b="1" dirty="0">
                <a:solidFill>
                  <a:srgbClr val="FFFFFF"/>
                </a:solidFill>
              </a:rPr>
              <a:t>EMP ID </a:t>
            </a:r>
            <a:r>
              <a:rPr lang="nl-NL" altLang="nl-NL" sz="1100" dirty="0">
                <a:solidFill>
                  <a:srgbClr val="FFFFFF"/>
                </a:solidFill>
              </a:rPr>
              <a:t>: 46290196</a:t>
            </a:r>
            <a:endPar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endPar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endParaRPr>
          </a:p>
        </p:txBody>
      </p:sp>
      <p:pic>
        <p:nvPicPr>
          <p:cNvPr id="22530" name="Picture 2" descr="Play Icon. Audio Or Video Player Symbol. Calendar, Download Arrow And New  Tag Signs. Colored Flat Web Icons. Vector Royalty Free SVG, Cliparts,  Vectors, And Stock Illustration. Image 75269679.">
            <a:hlinkClick r:id="rId7"/>
            <a:extLst>
              <a:ext uri="{FF2B5EF4-FFF2-40B4-BE49-F238E27FC236}">
                <a16:creationId xmlns:a16="http://schemas.microsoft.com/office/drawing/2014/main" id="{7A986EB2-83AE-2318-9F25-711BDAAF5A0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691563" y="6458568"/>
            <a:ext cx="376237" cy="261610"/>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7">
            <a:hlinkClick r:id="rId4"/>
            <a:extLst>
              <a:ext uri="{FF2B5EF4-FFF2-40B4-BE49-F238E27FC236}">
                <a16:creationId xmlns:a16="http://schemas.microsoft.com/office/drawing/2014/main" id="{D11F94AA-1FEF-3FD0-5694-AF59AF67B4D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8469429" y="6467164"/>
            <a:ext cx="167849" cy="198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1499e580-2306-407b-849e-f017b92b60f1" xsi:nil="true"/>
    <lcf76f155ced4ddcb4097134ff3c332f xmlns="dcd35679-11f2-4532-8b4c-e29cdde11b80">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E06FC38C7DE864F8920C83CEE90E3F4" ma:contentTypeVersion="10" ma:contentTypeDescription="Create a new document." ma:contentTypeScope="" ma:versionID="593e0e849d2fcf0ded9bd20903ececcc">
  <xsd:schema xmlns:xsd="http://www.w3.org/2001/XMLSchema" xmlns:xs="http://www.w3.org/2001/XMLSchema" xmlns:p="http://schemas.microsoft.com/office/2006/metadata/properties" xmlns:ns2="dcd35679-11f2-4532-8b4c-e29cdde11b80" xmlns:ns3="1499e580-2306-407b-849e-f017b92b60f1" targetNamespace="http://schemas.microsoft.com/office/2006/metadata/properties" ma:root="true" ma:fieldsID="6fd0856a67024471bd098515832e1378" ns2:_="" ns3:_="">
    <xsd:import namespace="dcd35679-11f2-4532-8b4c-e29cdde11b80"/>
    <xsd:import namespace="1499e580-2306-407b-849e-f017b92b60f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LengthInSecond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cd35679-11f2-4532-8b4c-e29cdde11b8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499e580-2306-407b-849e-f017b92b60f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25c90ec1-573c-4e4b-8400-d87dabd0d494}" ma:internalName="TaxCatchAll" ma:showField="CatchAllData" ma:web="1499e580-2306-407b-849e-f017b92b60f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 ds:uri="1499e580-2306-407b-849e-f017b92b60f1"/>
    <ds:schemaRef ds:uri="dcd35679-11f2-4532-8b4c-e29cdde11b80"/>
  </ds:schemaRefs>
</ds:datastoreItem>
</file>

<file path=customXml/itemProps2.xml><?xml version="1.0" encoding="utf-8"?>
<ds:datastoreItem xmlns:ds="http://schemas.openxmlformats.org/officeDocument/2006/customXml" ds:itemID="{A10E6C43-E2B4-4925-9023-DB70FFD640E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cd35679-11f2-4532-8b4c-e29cdde11b80"/>
    <ds:schemaRef ds:uri="1499e580-2306-407b-849e-f017b92b60f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763</TotalTime>
  <Words>310</Words>
  <Application>Microsoft Office PowerPoint</Application>
  <PresentationFormat>Widescreen</PresentationFormat>
  <Paragraphs>63</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Parusu, Meghana</cp:lastModifiedBy>
  <cp:revision>103</cp:revision>
  <dcterms:created xsi:type="dcterms:W3CDTF">2020-09-22T06:24:34Z</dcterms:created>
  <dcterms:modified xsi:type="dcterms:W3CDTF">2023-11-21T15:34: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E06FC38C7DE864F8920C83CEE90E3F4</vt:lpwstr>
  </property>
  <property fmtid="{D5CDD505-2E9C-101B-9397-08002B2CF9AE}" pid="3" name="MediaServiceImageTags">
    <vt:lpwstr/>
  </property>
</Properties>
</file>